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7"/>
  </p:notesMasterIdLst>
  <p:sldIdLst>
    <p:sldId id="256" r:id="rId5"/>
    <p:sldId id="257" r:id="rId6"/>
  </p:sldIdLst>
  <p:sldSz cx="12192000" cy="6858000"/>
  <p:notesSz cx="6858000" cy="9144000"/>
  <p:custDataLst>
    <p:tags r:id="rId8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0" d="100"/>
          <a:sy n="60" d="100"/>
        </p:scale>
        <p:origin x="84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F391DC2-BBE0-4617-9D0B-3B1129142E6C}" type="doc">
      <dgm:prSet loTypeId="urn:microsoft.com/office/officeart/2005/8/layout/orgChart1" loCatId="hierarchy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fr-FR"/>
        </a:p>
      </dgm:t>
    </dgm:pt>
    <dgm:pt modelId="{F24AEDF4-34B0-4178-94FE-84F4DE8182D2}">
      <dgm:prSet phldrT="[Text]"/>
      <dgm:spPr>
        <a:solidFill>
          <a:schemeClr val="accent6"/>
        </a:solidFill>
      </dgm:spPr>
      <dgm:t>
        <a:bodyPr/>
        <a:lstStyle/>
        <a:p>
          <a:pPr rtl="0"/>
          <a:r>
            <a:rPr lang="en-US" dirty="0"/>
            <a:t>Request</a:t>
          </a:r>
        </a:p>
      </dgm:t>
    </dgm:pt>
    <dgm:pt modelId="{1AB34844-24C1-4F21-9AA1-F0E1A5B2DCBB}" type="parTrans" cxnId="{BFFE5902-5589-425A-B7CD-E1E7E72A4305}">
      <dgm:prSet/>
      <dgm:spPr/>
      <dgm:t>
        <a:bodyPr/>
        <a:lstStyle/>
        <a:p>
          <a:endParaRPr lang="fr-FR"/>
        </a:p>
      </dgm:t>
    </dgm:pt>
    <dgm:pt modelId="{01C09356-35DF-4989-959C-23986FF484E5}" type="sibTrans" cxnId="{BFFE5902-5589-425A-B7CD-E1E7E72A4305}">
      <dgm:prSet/>
      <dgm:spPr/>
      <dgm:t>
        <a:bodyPr/>
        <a:lstStyle/>
        <a:p>
          <a:endParaRPr lang="fr-FR"/>
        </a:p>
      </dgm:t>
    </dgm:pt>
    <dgm:pt modelId="{37892D83-FC12-4A15-AC2B-C06607347188}" type="asst">
      <dgm:prSet phldrT="[Text]"/>
      <dgm:spPr>
        <a:solidFill>
          <a:schemeClr val="tx2"/>
        </a:solidFill>
      </dgm:spPr>
      <dgm:t>
        <a:bodyPr/>
        <a:lstStyle/>
        <a:p>
          <a:pPr rtl="0"/>
          <a:r>
            <a:rPr lang="en-US" dirty="0"/>
            <a:t>Can’t be </a:t>
          </a:r>
          <a:r>
            <a:rPr lang="en-US" noProof="0" dirty="0"/>
            <a:t>treated</a:t>
          </a:r>
        </a:p>
      </dgm:t>
    </dgm:pt>
    <dgm:pt modelId="{AE9EAFBE-0D12-49B9-847C-9E474AABAAAC}" type="parTrans" cxnId="{B1AF6D44-3FEC-466C-B55B-57F480E8CF26}">
      <dgm:prSet/>
      <dgm:spPr/>
      <dgm:t>
        <a:bodyPr/>
        <a:lstStyle/>
        <a:p>
          <a:pPr rtl="0"/>
          <a:endParaRPr lang="en-US" dirty="0"/>
        </a:p>
      </dgm:t>
    </dgm:pt>
    <dgm:pt modelId="{9CDFDBFD-FB97-4B5B-BC9D-AA9F843EC0BF}" type="sibTrans" cxnId="{B1AF6D44-3FEC-466C-B55B-57F480E8CF26}">
      <dgm:prSet/>
      <dgm:spPr/>
      <dgm:t>
        <a:bodyPr/>
        <a:lstStyle/>
        <a:p>
          <a:endParaRPr lang="fr-FR"/>
        </a:p>
      </dgm:t>
    </dgm:pt>
    <dgm:pt modelId="{FE707C45-4DB7-4C5D-81AF-7766C29EAD4C}">
      <dgm:prSet phldrT="[Text]"/>
      <dgm:spPr>
        <a:solidFill>
          <a:schemeClr val="accent1"/>
        </a:solidFill>
      </dgm:spPr>
      <dgm:t>
        <a:bodyPr/>
        <a:lstStyle/>
        <a:p>
          <a:pPr rtl="0"/>
          <a:r>
            <a:rPr lang="en-US" dirty="0"/>
            <a:t>Similar subject already done by the FTE</a:t>
          </a:r>
        </a:p>
      </dgm:t>
    </dgm:pt>
    <dgm:pt modelId="{7F4C31EA-E566-4C09-A976-9A29E70FF6AC}" type="parTrans" cxnId="{8932550E-3F68-489A-926A-0180110C672C}">
      <dgm:prSet/>
      <dgm:spPr/>
      <dgm:t>
        <a:bodyPr/>
        <a:lstStyle/>
        <a:p>
          <a:pPr rtl="0"/>
          <a:endParaRPr lang="en-US" dirty="0"/>
        </a:p>
      </dgm:t>
    </dgm:pt>
    <dgm:pt modelId="{96FEDB5D-06A4-4906-8B84-7D6E761246AF}" type="sibTrans" cxnId="{8932550E-3F68-489A-926A-0180110C672C}">
      <dgm:prSet/>
      <dgm:spPr/>
      <dgm:t>
        <a:bodyPr/>
        <a:lstStyle/>
        <a:p>
          <a:endParaRPr lang="fr-FR"/>
        </a:p>
      </dgm:t>
    </dgm:pt>
    <dgm:pt modelId="{572D6DD6-04E3-418A-8C1A-16FBFEDE31A6}">
      <dgm:prSet phldrT="[Text]"/>
      <dgm:spPr>
        <a:solidFill>
          <a:schemeClr val="accent1"/>
        </a:solidFill>
      </dgm:spPr>
      <dgm:t>
        <a:bodyPr/>
        <a:lstStyle/>
        <a:p>
          <a:pPr rtl="0"/>
          <a:r>
            <a:rPr lang="en-US" dirty="0"/>
            <a:t>No similar subject already done by the FTE</a:t>
          </a:r>
        </a:p>
      </dgm:t>
    </dgm:pt>
    <dgm:pt modelId="{071EB26C-810B-4433-8E38-1EA88CBAC7E7}" type="parTrans" cxnId="{B5F8B7F7-07E3-418A-91F3-D1BBE891D287}">
      <dgm:prSet/>
      <dgm:spPr/>
      <dgm:t>
        <a:bodyPr/>
        <a:lstStyle/>
        <a:p>
          <a:pPr rtl="0"/>
          <a:endParaRPr lang="en-US" dirty="0"/>
        </a:p>
      </dgm:t>
    </dgm:pt>
    <dgm:pt modelId="{CA2932E3-FB22-4180-8EB0-7BF7337DCAD2}" type="sibTrans" cxnId="{B5F8B7F7-07E3-418A-91F3-D1BBE891D287}">
      <dgm:prSet/>
      <dgm:spPr/>
      <dgm:t>
        <a:bodyPr/>
        <a:lstStyle/>
        <a:p>
          <a:endParaRPr lang="fr-FR"/>
        </a:p>
      </dgm:t>
    </dgm:pt>
    <dgm:pt modelId="{FF0F8337-9F64-4ED0-B9C5-9AD4E50ED3A9}">
      <dgm:prSet phldrT="[Text]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pPr rtl="0"/>
          <a:r>
            <a:rPr lang="en-US" dirty="0"/>
            <a:t>Similar Subject already done by MCK Team</a:t>
          </a:r>
        </a:p>
      </dgm:t>
    </dgm:pt>
    <dgm:pt modelId="{33E16A61-97E6-47F8-AC10-86C1BA546CE2}" type="parTrans" cxnId="{17F723D6-4AE3-426B-B6C2-E217027360CB}">
      <dgm:prSet/>
      <dgm:spPr/>
      <dgm:t>
        <a:bodyPr/>
        <a:lstStyle/>
        <a:p>
          <a:pPr rtl="0"/>
          <a:endParaRPr lang="en-US" dirty="0"/>
        </a:p>
      </dgm:t>
    </dgm:pt>
    <dgm:pt modelId="{9F3E2281-3E56-45C5-8975-C33FEB61F299}" type="sibTrans" cxnId="{17F723D6-4AE3-426B-B6C2-E217027360CB}">
      <dgm:prSet/>
      <dgm:spPr/>
      <dgm:t>
        <a:bodyPr/>
        <a:lstStyle/>
        <a:p>
          <a:endParaRPr lang="en-US"/>
        </a:p>
      </dgm:t>
    </dgm:pt>
    <dgm:pt modelId="{85E6AE99-4E52-4AD5-B3AA-791A19989B44}">
      <dgm:prSet phldrT="[Text]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pPr rtl="0"/>
          <a:r>
            <a:rPr lang="en-US" dirty="0"/>
            <a:t>No Similar subject already done by MCK Team</a:t>
          </a:r>
        </a:p>
      </dgm:t>
    </dgm:pt>
    <dgm:pt modelId="{A873DAFB-9EAF-4C97-85BD-DEE71645D97C}" type="parTrans" cxnId="{B3DAABBC-BE0F-43CA-9274-2B0000179B18}">
      <dgm:prSet/>
      <dgm:spPr/>
      <dgm:t>
        <a:bodyPr/>
        <a:lstStyle/>
        <a:p>
          <a:pPr rtl="0"/>
          <a:endParaRPr lang="en-US" dirty="0"/>
        </a:p>
      </dgm:t>
    </dgm:pt>
    <dgm:pt modelId="{D512A93F-0F2E-44B5-AE5F-59D21840786B}" type="sibTrans" cxnId="{B3DAABBC-BE0F-43CA-9274-2B0000179B18}">
      <dgm:prSet/>
      <dgm:spPr/>
      <dgm:t>
        <a:bodyPr/>
        <a:lstStyle/>
        <a:p>
          <a:endParaRPr lang="en-US"/>
        </a:p>
      </dgm:t>
    </dgm:pt>
    <dgm:pt modelId="{45686561-960A-4BE9-B05B-4ADFA95FC643}">
      <dgm:prSet phldrT="[Text]"/>
      <dgm:spPr>
        <a:solidFill>
          <a:schemeClr val="accent6"/>
        </a:solidFill>
      </dgm:spPr>
      <dgm:t>
        <a:bodyPr/>
        <a:lstStyle/>
        <a:p>
          <a:pPr rtl="0"/>
          <a:r>
            <a:rPr lang="en-US" dirty="0"/>
            <a:t>Treated by the FTE</a:t>
          </a:r>
        </a:p>
      </dgm:t>
    </dgm:pt>
    <dgm:pt modelId="{537042B0-224C-4CDE-BD3E-B1C9DEC1EED4}" type="parTrans" cxnId="{F12B151B-F0AC-4D78-A2E9-2656D070F92B}">
      <dgm:prSet/>
      <dgm:spPr/>
      <dgm:t>
        <a:bodyPr/>
        <a:lstStyle/>
        <a:p>
          <a:pPr rtl="0"/>
          <a:endParaRPr lang="en-US" dirty="0"/>
        </a:p>
      </dgm:t>
    </dgm:pt>
    <dgm:pt modelId="{EBBF0D79-D107-40A7-8789-6CA7C3D75B5B}" type="sibTrans" cxnId="{F12B151B-F0AC-4D78-A2E9-2656D070F92B}">
      <dgm:prSet/>
      <dgm:spPr/>
      <dgm:t>
        <a:bodyPr/>
        <a:lstStyle/>
        <a:p>
          <a:endParaRPr lang="en-US"/>
        </a:p>
      </dgm:t>
    </dgm:pt>
    <dgm:pt modelId="{885AF535-68CB-4A1D-8F77-8830C8494D07}" type="pres">
      <dgm:prSet presAssocID="{CF391DC2-BBE0-4617-9D0B-3B1129142E6C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C10213FB-33F6-41F3-872C-85F122004AD6}" type="pres">
      <dgm:prSet presAssocID="{F24AEDF4-34B0-4178-94FE-84F4DE8182D2}" presName="hierRoot1" presStyleCnt="0">
        <dgm:presLayoutVars>
          <dgm:hierBranch val="init"/>
        </dgm:presLayoutVars>
      </dgm:prSet>
      <dgm:spPr/>
    </dgm:pt>
    <dgm:pt modelId="{06AE8E5B-3DE3-4D00-8CD4-81481CF3CFAC}" type="pres">
      <dgm:prSet presAssocID="{F24AEDF4-34B0-4178-94FE-84F4DE8182D2}" presName="rootComposite1" presStyleCnt="0"/>
      <dgm:spPr/>
    </dgm:pt>
    <dgm:pt modelId="{442D3079-C513-498E-8DFD-954C4EBF5EF4}" type="pres">
      <dgm:prSet presAssocID="{F24AEDF4-34B0-4178-94FE-84F4DE8182D2}" presName="rootText1" presStyleLbl="node0" presStyleIdx="0" presStyleCnt="1">
        <dgm:presLayoutVars>
          <dgm:chPref val="3"/>
        </dgm:presLayoutVars>
      </dgm:prSet>
      <dgm:spPr/>
    </dgm:pt>
    <dgm:pt modelId="{3BB4BC1E-3E3E-4081-A7C8-E8E4815A432B}" type="pres">
      <dgm:prSet presAssocID="{F24AEDF4-34B0-4178-94FE-84F4DE8182D2}" presName="rootConnector1" presStyleLbl="node1" presStyleIdx="0" presStyleCnt="0"/>
      <dgm:spPr/>
    </dgm:pt>
    <dgm:pt modelId="{83C28DC3-15A9-4DD6-9A2A-1F5F36993249}" type="pres">
      <dgm:prSet presAssocID="{F24AEDF4-34B0-4178-94FE-84F4DE8182D2}" presName="hierChild2" presStyleCnt="0"/>
      <dgm:spPr/>
    </dgm:pt>
    <dgm:pt modelId="{7BEB9BA9-72D1-4EC6-9045-3D49043598C4}" type="pres">
      <dgm:prSet presAssocID="{7F4C31EA-E566-4C09-A976-9A29E70FF6AC}" presName="Name37" presStyleLbl="parChTrans1D2" presStyleIdx="0" presStyleCnt="3"/>
      <dgm:spPr/>
    </dgm:pt>
    <dgm:pt modelId="{FF19D2EC-BF18-40BB-B99B-4EDE0E9B6E6C}" type="pres">
      <dgm:prSet presAssocID="{FE707C45-4DB7-4C5D-81AF-7766C29EAD4C}" presName="hierRoot2" presStyleCnt="0">
        <dgm:presLayoutVars>
          <dgm:hierBranch val="init"/>
        </dgm:presLayoutVars>
      </dgm:prSet>
      <dgm:spPr/>
    </dgm:pt>
    <dgm:pt modelId="{9BB5E698-88C4-4E91-9D05-F7FBF0C9F54F}" type="pres">
      <dgm:prSet presAssocID="{FE707C45-4DB7-4C5D-81AF-7766C29EAD4C}" presName="rootComposite" presStyleCnt="0"/>
      <dgm:spPr/>
    </dgm:pt>
    <dgm:pt modelId="{84A2C78B-2BE4-4485-A354-B5CDD2EDD746}" type="pres">
      <dgm:prSet presAssocID="{FE707C45-4DB7-4C5D-81AF-7766C29EAD4C}" presName="rootText" presStyleLbl="node2" presStyleIdx="0" presStyleCnt="2">
        <dgm:presLayoutVars>
          <dgm:chPref val="3"/>
        </dgm:presLayoutVars>
      </dgm:prSet>
      <dgm:spPr/>
    </dgm:pt>
    <dgm:pt modelId="{D8F3F798-0BC8-40E8-BB1C-47E43ECAA06B}" type="pres">
      <dgm:prSet presAssocID="{FE707C45-4DB7-4C5D-81AF-7766C29EAD4C}" presName="rootConnector" presStyleLbl="node2" presStyleIdx="0" presStyleCnt="2"/>
      <dgm:spPr/>
    </dgm:pt>
    <dgm:pt modelId="{500BCBF8-3C59-4693-B381-4DE1FD1FA6F4}" type="pres">
      <dgm:prSet presAssocID="{FE707C45-4DB7-4C5D-81AF-7766C29EAD4C}" presName="hierChild4" presStyleCnt="0"/>
      <dgm:spPr/>
    </dgm:pt>
    <dgm:pt modelId="{6074283A-A582-45C9-8175-BEA13C37F47C}" type="pres">
      <dgm:prSet presAssocID="{537042B0-224C-4CDE-BD3E-B1C9DEC1EED4}" presName="Name37" presStyleLbl="parChTrans1D3" presStyleIdx="0" presStyleCnt="3"/>
      <dgm:spPr/>
    </dgm:pt>
    <dgm:pt modelId="{565A3E07-8A18-4CDA-AE33-26842EE325CB}" type="pres">
      <dgm:prSet presAssocID="{45686561-960A-4BE9-B05B-4ADFA95FC643}" presName="hierRoot2" presStyleCnt="0">
        <dgm:presLayoutVars>
          <dgm:hierBranch val="init"/>
        </dgm:presLayoutVars>
      </dgm:prSet>
      <dgm:spPr/>
    </dgm:pt>
    <dgm:pt modelId="{658DDBA3-6819-47D5-B6E0-C4C5FD6A22F9}" type="pres">
      <dgm:prSet presAssocID="{45686561-960A-4BE9-B05B-4ADFA95FC643}" presName="rootComposite" presStyleCnt="0"/>
      <dgm:spPr/>
    </dgm:pt>
    <dgm:pt modelId="{90EF61AA-8AA1-4198-B18F-1D7BD9E49CF6}" type="pres">
      <dgm:prSet presAssocID="{45686561-960A-4BE9-B05B-4ADFA95FC643}" presName="rootText" presStyleLbl="node3" presStyleIdx="0" presStyleCnt="3" custScaleX="61837" custScaleY="52892">
        <dgm:presLayoutVars>
          <dgm:chPref val="3"/>
        </dgm:presLayoutVars>
      </dgm:prSet>
      <dgm:spPr/>
    </dgm:pt>
    <dgm:pt modelId="{AAF6CFF0-F35B-4770-9774-E29823A928CA}" type="pres">
      <dgm:prSet presAssocID="{45686561-960A-4BE9-B05B-4ADFA95FC643}" presName="rootConnector" presStyleLbl="node3" presStyleIdx="0" presStyleCnt="3"/>
      <dgm:spPr/>
    </dgm:pt>
    <dgm:pt modelId="{7FAD0450-CA0D-443B-9B78-2D0E5495A7BD}" type="pres">
      <dgm:prSet presAssocID="{45686561-960A-4BE9-B05B-4ADFA95FC643}" presName="hierChild4" presStyleCnt="0"/>
      <dgm:spPr/>
    </dgm:pt>
    <dgm:pt modelId="{A61DC9A9-37D0-4413-8DE9-78BD2B0DD567}" type="pres">
      <dgm:prSet presAssocID="{45686561-960A-4BE9-B05B-4ADFA95FC643}" presName="hierChild5" presStyleCnt="0"/>
      <dgm:spPr/>
    </dgm:pt>
    <dgm:pt modelId="{74F446B7-73A4-4F73-A1A5-E13ED1DB830B}" type="pres">
      <dgm:prSet presAssocID="{FE707C45-4DB7-4C5D-81AF-7766C29EAD4C}" presName="hierChild5" presStyleCnt="0"/>
      <dgm:spPr/>
    </dgm:pt>
    <dgm:pt modelId="{CAE849D0-5640-42CD-87BA-3ACA1E878D05}" type="pres">
      <dgm:prSet presAssocID="{071EB26C-810B-4433-8E38-1EA88CBAC7E7}" presName="Name37" presStyleLbl="parChTrans1D2" presStyleIdx="1" presStyleCnt="3"/>
      <dgm:spPr/>
    </dgm:pt>
    <dgm:pt modelId="{7FA11DA0-679A-4212-925C-5048789217FD}" type="pres">
      <dgm:prSet presAssocID="{572D6DD6-04E3-418A-8C1A-16FBFEDE31A6}" presName="hierRoot2" presStyleCnt="0">
        <dgm:presLayoutVars>
          <dgm:hierBranch val="init"/>
        </dgm:presLayoutVars>
      </dgm:prSet>
      <dgm:spPr/>
    </dgm:pt>
    <dgm:pt modelId="{2280BFDA-76EF-40E6-BD0B-BDEC86782BCB}" type="pres">
      <dgm:prSet presAssocID="{572D6DD6-04E3-418A-8C1A-16FBFEDE31A6}" presName="rootComposite" presStyleCnt="0"/>
      <dgm:spPr/>
    </dgm:pt>
    <dgm:pt modelId="{D01B920A-E5F0-4CC9-BE8C-731AEA24F1D0}" type="pres">
      <dgm:prSet presAssocID="{572D6DD6-04E3-418A-8C1A-16FBFEDE31A6}" presName="rootText" presStyleLbl="node2" presStyleIdx="1" presStyleCnt="2">
        <dgm:presLayoutVars>
          <dgm:chPref val="3"/>
        </dgm:presLayoutVars>
      </dgm:prSet>
      <dgm:spPr/>
    </dgm:pt>
    <dgm:pt modelId="{0C802DEC-CD09-41F5-A7A6-1B0C9797E2F6}" type="pres">
      <dgm:prSet presAssocID="{572D6DD6-04E3-418A-8C1A-16FBFEDE31A6}" presName="rootConnector" presStyleLbl="node2" presStyleIdx="1" presStyleCnt="2"/>
      <dgm:spPr/>
    </dgm:pt>
    <dgm:pt modelId="{6B22F5DA-BED9-4E3D-B6A1-F3A96739C3C5}" type="pres">
      <dgm:prSet presAssocID="{572D6DD6-04E3-418A-8C1A-16FBFEDE31A6}" presName="hierChild4" presStyleCnt="0"/>
      <dgm:spPr/>
    </dgm:pt>
    <dgm:pt modelId="{7BBD3FFB-4E76-492B-91BC-F9476A1CBF30}" type="pres">
      <dgm:prSet presAssocID="{33E16A61-97E6-47F8-AC10-86C1BA546CE2}" presName="Name37" presStyleLbl="parChTrans1D3" presStyleIdx="1" presStyleCnt="3"/>
      <dgm:spPr/>
    </dgm:pt>
    <dgm:pt modelId="{0155F397-BE07-49FA-97E8-E2C09050270D}" type="pres">
      <dgm:prSet presAssocID="{FF0F8337-9F64-4ED0-B9C5-9AD4E50ED3A9}" presName="hierRoot2" presStyleCnt="0">
        <dgm:presLayoutVars>
          <dgm:hierBranch val="init"/>
        </dgm:presLayoutVars>
      </dgm:prSet>
      <dgm:spPr/>
    </dgm:pt>
    <dgm:pt modelId="{C5F76F2B-21EA-4701-B2D5-24CCF3DBD983}" type="pres">
      <dgm:prSet presAssocID="{FF0F8337-9F64-4ED0-B9C5-9AD4E50ED3A9}" presName="rootComposite" presStyleCnt="0"/>
      <dgm:spPr/>
    </dgm:pt>
    <dgm:pt modelId="{CC4DB07B-9FA5-4316-BEEB-1D53898E22C1}" type="pres">
      <dgm:prSet presAssocID="{FF0F8337-9F64-4ED0-B9C5-9AD4E50ED3A9}" presName="rootText" presStyleLbl="node3" presStyleIdx="1" presStyleCnt="3">
        <dgm:presLayoutVars>
          <dgm:chPref val="3"/>
        </dgm:presLayoutVars>
      </dgm:prSet>
      <dgm:spPr/>
    </dgm:pt>
    <dgm:pt modelId="{4A28E718-CCA0-4368-9B5B-CECA89E553DD}" type="pres">
      <dgm:prSet presAssocID="{FF0F8337-9F64-4ED0-B9C5-9AD4E50ED3A9}" presName="rootConnector" presStyleLbl="node3" presStyleIdx="1" presStyleCnt="3"/>
      <dgm:spPr/>
    </dgm:pt>
    <dgm:pt modelId="{3C2092C7-0B80-49AD-BFF7-3952308D41D4}" type="pres">
      <dgm:prSet presAssocID="{FF0F8337-9F64-4ED0-B9C5-9AD4E50ED3A9}" presName="hierChild4" presStyleCnt="0"/>
      <dgm:spPr/>
    </dgm:pt>
    <dgm:pt modelId="{A366290B-200E-4213-9C5B-00AD5B2EC453}" type="pres">
      <dgm:prSet presAssocID="{FF0F8337-9F64-4ED0-B9C5-9AD4E50ED3A9}" presName="hierChild5" presStyleCnt="0"/>
      <dgm:spPr/>
    </dgm:pt>
    <dgm:pt modelId="{16FC27DE-D46C-40C6-9F19-1D74C286B2CD}" type="pres">
      <dgm:prSet presAssocID="{A873DAFB-9EAF-4C97-85BD-DEE71645D97C}" presName="Name37" presStyleLbl="parChTrans1D3" presStyleIdx="2" presStyleCnt="3"/>
      <dgm:spPr/>
    </dgm:pt>
    <dgm:pt modelId="{70A7DEE3-2C0D-4A3E-B10B-AF1909A8BDB3}" type="pres">
      <dgm:prSet presAssocID="{85E6AE99-4E52-4AD5-B3AA-791A19989B44}" presName="hierRoot2" presStyleCnt="0">
        <dgm:presLayoutVars>
          <dgm:hierBranch val="init"/>
        </dgm:presLayoutVars>
      </dgm:prSet>
      <dgm:spPr/>
    </dgm:pt>
    <dgm:pt modelId="{5C180ECF-4353-47E5-8271-8CEF39836655}" type="pres">
      <dgm:prSet presAssocID="{85E6AE99-4E52-4AD5-B3AA-791A19989B44}" presName="rootComposite" presStyleCnt="0"/>
      <dgm:spPr/>
    </dgm:pt>
    <dgm:pt modelId="{FA72ED6B-ED71-4001-A8D7-C629A6384B24}" type="pres">
      <dgm:prSet presAssocID="{85E6AE99-4E52-4AD5-B3AA-791A19989B44}" presName="rootText" presStyleLbl="node3" presStyleIdx="2" presStyleCnt="3">
        <dgm:presLayoutVars>
          <dgm:chPref val="3"/>
        </dgm:presLayoutVars>
      </dgm:prSet>
      <dgm:spPr/>
    </dgm:pt>
    <dgm:pt modelId="{3E764552-B98D-441E-8B0E-74215BA80E31}" type="pres">
      <dgm:prSet presAssocID="{85E6AE99-4E52-4AD5-B3AA-791A19989B44}" presName="rootConnector" presStyleLbl="node3" presStyleIdx="2" presStyleCnt="3"/>
      <dgm:spPr/>
    </dgm:pt>
    <dgm:pt modelId="{91B145AA-AFB9-4333-A773-2BC98C36ECC1}" type="pres">
      <dgm:prSet presAssocID="{85E6AE99-4E52-4AD5-B3AA-791A19989B44}" presName="hierChild4" presStyleCnt="0"/>
      <dgm:spPr/>
    </dgm:pt>
    <dgm:pt modelId="{B15273D8-667A-4637-9B38-1874904D16D9}" type="pres">
      <dgm:prSet presAssocID="{85E6AE99-4E52-4AD5-B3AA-791A19989B44}" presName="hierChild5" presStyleCnt="0"/>
      <dgm:spPr/>
    </dgm:pt>
    <dgm:pt modelId="{F3B63E67-3FC2-4B47-AEB4-923B661AF4B3}" type="pres">
      <dgm:prSet presAssocID="{572D6DD6-04E3-418A-8C1A-16FBFEDE31A6}" presName="hierChild5" presStyleCnt="0"/>
      <dgm:spPr/>
    </dgm:pt>
    <dgm:pt modelId="{FCDE419A-8587-465D-A7B7-3B48DAFDDFF0}" type="pres">
      <dgm:prSet presAssocID="{F24AEDF4-34B0-4178-94FE-84F4DE8182D2}" presName="hierChild3" presStyleCnt="0"/>
      <dgm:spPr/>
    </dgm:pt>
    <dgm:pt modelId="{E21EA171-F4BE-4803-9CA0-852D066289B3}" type="pres">
      <dgm:prSet presAssocID="{AE9EAFBE-0D12-49B9-847C-9E474AABAAAC}" presName="Name111" presStyleLbl="parChTrans1D2" presStyleIdx="2" presStyleCnt="3"/>
      <dgm:spPr/>
    </dgm:pt>
    <dgm:pt modelId="{CB23F253-0037-481C-AD38-E14077128939}" type="pres">
      <dgm:prSet presAssocID="{37892D83-FC12-4A15-AC2B-C06607347188}" presName="hierRoot3" presStyleCnt="0">
        <dgm:presLayoutVars>
          <dgm:hierBranch val="init"/>
        </dgm:presLayoutVars>
      </dgm:prSet>
      <dgm:spPr/>
    </dgm:pt>
    <dgm:pt modelId="{59B92C3E-232C-4C7F-B263-00F371DACB47}" type="pres">
      <dgm:prSet presAssocID="{37892D83-FC12-4A15-AC2B-C06607347188}" presName="rootComposite3" presStyleCnt="0"/>
      <dgm:spPr/>
    </dgm:pt>
    <dgm:pt modelId="{50263CA5-D181-44D0-BDA6-69070ADAD205}" type="pres">
      <dgm:prSet presAssocID="{37892D83-FC12-4A15-AC2B-C06607347188}" presName="rootText3" presStyleLbl="asst1" presStyleIdx="0" presStyleCnt="1">
        <dgm:presLayoutVars>
          <dgm:chPref val="3"/>
        </dgm:presLayoutVars>
      </dgm:prSet>
      <dgm:spPr/>
    </dgm:pt>
    <dgm:pt modelId="{0D544C37-8636-4090-8250-04A2A0269CBA}" type="pres">
      <dgm:prSet presAssocID="{37892D83-FC12-4A15-AC2B-C06607347188}" presName="rootConnector3" presStyleLbl="asst1" presStyleIdx="0" presStyleCnt="1"/>
      <dgm:spPr/>
    </dgm:pt>
    <dgm:pt modelId="{C683380A-0EC5-47D1-97EB-973EE033299A}" type="pres">
      <dgm:prSet presAssocID="{37892D83-FC12-4A15-AC2B-C06607347188}" presName="hierChild6" presStyleCnt="0"/>
      <dgm:spPr/>
    </dgm:pt>
    <dgm:pt modelId="{42166F1E-B1C3-488C-B743-0A902B0371C3}" type="pres">
      <dgm:prSet presAssocID="{37892D83-FC12-4A15-AC2B-C06607347188}" presName="hierChild7" presStyleCnt="0"/>
      <dgm:spPr/>
    </dgm:pt>
  </dgm:ptLst>
  <dgm:cxnLst>
    <dgm:cxn modelId="{BFFE5902-5589-425A-B7CD-E1E7E72A4305}" srcId="{CF391DC2-BBE0-4617-9D0B-3B1129142E6C}" destId="{F24AEDF4-34B0-4178-94FE-84F4DE8182D2}" srcOrd="0" destOrd="0" parTransId="{1AB34844-24C1-4F21-9AA1-F0E1A5B2DCBB}" sibTransId="{01C09356-35DF-4989-959C-23986FF484E5}"/>
    <dgm:cxn modelId="{8932550E-3F68-489A-926A-0180110C672C}" srcId="{F24AEDF4-34B0-4178-94FE-84F4DE8182D2}" destId="{FE707C45-4DB7-4C5D-81AF-7766C29EAD4C}" srcOrd="1" destOrd="0" parTransId="{7F4C31EA-E566-4C09-A976-9A29E70FF6AC}" sibTransId="{96FEDB5D-06A4-4906-8B84-7D6E761246AF}"/>
    <dgm:cxn modelId="{F12B151B-F0AC-4D78-A2E9-2656D070F92B}" srcId="{FE707C45-4DB7-4C5D-81AF-7766C29EAD4C}" destId="{45686561-960A-4BE9-B05B-4ADFA95FC643}" srcOrd="0" destOrd="0" parTransId="{537042B0-224C-4CDE-BD3E-B1C9DEC1EED4}" sibTransId="{EBBF0D79-D107-40A7-8789-6CA7C3D75B5B}"/>
    <dgm:cxn modelId="{F0360024-B17D-408A-8FB4-9081B4CA462A}" type="presOf" srcId="{FE707C45-4DB7-4C5D-81AF-7766C29EAD4C}" destId="{D8F3F798-0BC8-40E8-BB1C-47E43ECAA06B}" srcOrd="1" destOrd="0" presId="urn:microsoft.com/office/officeart/2005/8/layout/orgChart1"/>
    <dgm:cxn modelId="{67315835-261E-407D-8C4B-99FC9C313B8B}" type="presOf" srcId="{CF391DC2-BBE0-4617-9D0B-3B1129142E6C}" destId="{885AF535-68CB-4A1D-8F77-8830C8494D07}" srcOrd="0" destOrd="0" presId="urn:microsoft.com/office/officeart/2005/8/layout/orgChart1"/>
    <dgm:cxn modelId="{7891D538-DFB5-426B-9E8D-CC83425D11E2}" type="presOf" srcId="{85E6AE99-4E52-4AD5-B3AA-791A19989B44}" destId="{3E764552-B98D-441E-8B0E-74215BA80E31}" srcOrd="1" destOrd="0" presId="urn:microsoft.com/office/officeart/2005/8/layout/orgChart1"/>
    <dgm:cxn modelId="{E4B0EF5D-A21B-4011-BBCD-8EF837D55056}" type="presOf" srcId="{45686561-960A-4BE9-B05B-4ADFA95FC643}" destId="{AAF6CFF0-F35B-4770-9774-E29823A928CA}" srcOrd="1" destOrd="0" presId="urn:microsoft.com/office/officeart/2005/8/layout/orgChart1"/>
    <dgm:cxn modelId="{B1AF6D44-3FEC-466C-B55B-57F480E8CF26}" srcId="{F24AEDF4-34B0-4178-94FE-84F4DE8182D2}" destId="{37892D83-FC12-4A15-AC2B-C06607347188}" srcOrd="0" destOrd="0" parTransId="{AE9EAFBE-0D12-49B9-847C-9E474AABAAAC}" sibTransId="{9CDFDBFD-FB97-4B5B-BC9D-AA9F843EC0BF}"/>
    <dgm:cxn modelId="{EE3C0568-3D0C-4171-884A-38D6E47CB8F4}" type="presOf" srcId="{7F4C31EA-E566-4C09-A976-9A29E70FF6AC}" destId="{7BEB9BA9-72D1-4EC6-9045-3D49043598C4}" srcOrd="0" destOrd="0" presId="urn:microsoft.com/office/officeart/2005/8/layout/orgChart1"/>
    <dgm:cxn modelId="{CED8564C-9D80-40D8-8859-4DC2F9A893A2}" type="presOf" srcId="{37892D83-FC12-4A15-AC2B-C06607347188}" destId="{0D544C37-8636-4090-8250-04A2A0269CBA}" srcOrd="1" destOrd="0" presId="urn:microsoft.com/office/officeart/2005/8/layout/orgChart1"/>
    <dgm:cxn modelId="{0363306D-CEF9-478C-9989-0BC7E0A1D12B}" type="presOf" srcId="{572D6DD6-04E3-418A-8C1A-16FBFEDE31A6}" destId="{0C802DEC-CD09-41F5-A7A6-1B0C9797E2F6}" srcOrd="1" destOrd="0" presId="urn:microsoft.com/office/officeart/2005/8/layout/orgChart1"/>
    <dgm:cxn modelId="{57F1566D-19D8-4C06-A087-FCCF040C0FA7}" type="presOf" srcId="{FF0F8337-9F64-4ED0-B9C5-9AD4E50ED3A9}" destId="{4A28E718-CCA0-4368-9B5B-CECA89E553DD}" srcOrd="1" destOrd="0" presId="urn:microsoft.com/office/officeart/2005/8/layout/orgChart1"/>
    <dgm:cxn modelId="{F3E24E5A-6B8C-431F-B722-848831D61A10}" type="presOf" srcId="{37892D83-FC12-4A15-AC2B-C06607347188}" destId="{50263CA5-D181-44D0-BDA6-69070ADAD205}" srcOrd="0" destOrd="0" presId="urn:microsoft.com/office/officeart/2005/8/layout/orgChart1"/>
    <dgm:cxn modelId="{2390D37D-3206-4CD4-B08E-F9BABEEE90E0}" type="presOf" srcId="{AE9EAFBE-0D12-49B9-847C-9E474AABAAAC}" destId="{E21EA171-F4BE-4803-9CA0-852D066289B3}" srcOrd="0" destOrd="0" presId="urn:microsoft.com/office/officeart/2005/8/layout/orgChart1"/>
    <dgm:cxn modelId="{8164BB81-E062-487E-8ED2-C4604FCB1ACE}" type="presOf" srcId="{F24AEDF4-34B0-4178-94FE-84F4DE8182D2}" destId="{442D3079-C513-498E-8DFD-954C4EBF5EF4}" srcOrd="0" destOrd="0" presId="urn:microsoft.com/office/officeart/2005/8/layout/orgChart1"/>
    <dgm:cxn modelId="{1562D08F-56CA-4FA2-AAA8-E6C9C2DA1077}" type="presOf" srcId="{537042B0-224C-4CDE-BD3E-B1C9DEC1EED4}" destId="{6074283A-A582-45C9-8175-BEA13C37F47C}" srcOrd="0" destOrd="0" presId="urn:microsoft.com/office/officeart/2005/8/layout/orgChart1"/>
    <dgm:cxn modelId="{0280B492-6B01-4B14-B217-3B04C771C231}" type="presOf" srcId="{F24AEDF4-34B0-4178-94FE-84F4DE8182D2}" destId="{3BB4BC1E-3E3E-4081-A7C8-E8E4815A432B}" srcOrd="1" destOrd="0" presId="urn:microsoft.com/office/officeart/2005/8/layout/orgChart1"/>
    <dgm:cxn modelId="{A28E65A5-76CC-47C8-B4D8-22962CCB139A}" type="presOf" srcId="{85E6AE99-4E52-4AD5-B3AA-791A19989B44}" destId="{FA72ED6B-ED71-4001-A8D7-C629A6384B24}" srcOrd="0" destOrd="0" presId="urn:microsoft.com/office/officeart/2005/8/layout/orgChart1"/>
    <dgm:cxn modelId="{7F3C0FA8-9F56-485E-9960-5FC0984F1396}" type="presOf" srcId="{45686561-960A-4BE9-B05B-4ADFA95FC643}" destId="{90EF61AA-8AA1-4198-B18F-1D7BD9E49CF6}" srcOrd="0" destOrd="0" presId="urn:microsoft.com/office/officeart/2005/8/layout/orgChart1"/>
    <dgm:cxn modelId="{B417E5AA-87C6-4FDB-8CD9-9B21892D7E00}" type="presOf" srcId="{A873DAFB-9EAF-4C97-85BD-DEE71645D97C}" destId="{16FC27DE-D46C-40C6-9F19-1D74C286B2CD}" srcOrd="0" destOrd="0" presId="urn:microsoft.com/office/officeart/2005/8/layout/orgChart1"/>
    <dgm:cxn modelId="{B3DAABBC-BE0F-43CA-9274-2B0000179B18}" srcId="{572D6DD6-04E3-418A-8C1A-16FBFEDE31A6}" destId="{85E6AE99-4E52-4AD5-B3AA-791A19989B44}" srcOrd="1" destOrd="0" parTransId="{A873DAFB-9EAF-4C97-85BD-DEE71645D97C}" sibTransId="{D512A93F-0F2E-44B5-AE5F-59D21840786B}"/>
    <dgm:cxn modelId="{BBB502CA-2030-400F-9513-B54D27DB62D7}" type="presOf" srcId="{071EB26C-810B-4433-8E38-1EA88CBAC7E7}" destId="{CAE849D0-5640-42CD-87BA-3ACA1E878D05}" srcOrd="0" destOrd="0" presId="urn:microsoft.com/office/officeart/2005/8/layout/orgChart1"/>
    <dgm:cxn modelId="{1FCF61D4-8164-4DE9-A959-2F7417F7301E}" type="presOf" srcId="{FE707C45-4DB7-4C5D-81AF-7766C29EAD4C}" destId="{84A2C78B-2BE4-4485-A354-B5CDD2EDD746}" srcOrd="0" destOrd="0" presId="urn:microsoft.com/office/officeart/2005/8/layout/orgChart1"/>
    <dgm:cxn modelId="{17F723D6-4AE3-426B-B6C2-E217027360CB}" srcId="{572D6DD6-04E3-418A-8C1A-16FBFEDE31A6}" destId="{FF0F8337-9F64-4ED0-B9C5-9AD4E50ED3A9}" srcOrd="0" destOrd="0" parTransId="{33E16A61-97E6-47F8-AC10-86C1BA546CE2}" sibTransId="{9F3E2281-3E56-45C5-8975-C33FEB61F299}"/>
    <dgm:cxn modelId="{2C6EF5D9-33CB-40FD-B034-DB7BC7F24F5F}" type="presOf" srcId="{33E16A61-97E6-47F8-AC10-86C1BA546CE2}" destId="{7BBD3FFB-4E76-492B-91BC-F9476A1CBF30}" srcOrd="0" destOrd="0" presId="urn:microsoft.com/office/officeart/2005/8/layout/orgChart1"/>
    <dgm:cxn modelId="{772F33E4-80B3-4767-BBD9-1C27A55D2E21}" type="presOf" srcId="{FF0F8337-9F64-4ED0-B9C5-9AD4E50ED3A9}" destId="{CC4DB07B-9FA5-4316-BEEB-1D53898E22C1}" srcOrd="0" destOrd="0" presId="urn:microsoft.com/office/officeart/2005/8/layout/orgChart1"/>
    <dgm:cxn modelId="{B5F8B7F7-07E3-418A-91F3-D1BBE891D287}" srcId="{F24AEDF4-34B0-4178-94FE-84F4DE8182D2}" destId="{572D6DD6-04E3-418A-8C1A-16FBFEDE31A6}" srcOrd="2" destOrd="0" parTransId="{071EB26C-810B-4433-8E38-1EA88CBAC7E7}" sibTransId="{CA2932E3-FB22-4180-8EB0-7BF7337DCAD2}"/>
    <dgm:cxn modelId="{0EEA5AFC-9125-4482-92F1-9103ACBB2412}" type="presOf" srcId="{572D6DD6-04E3-418A-8C1A-16FBFEDE31A6}" destId="{D01B920A-E5F0-4CC9-BE8C-731AEA24F1D0}" srcOrd="0" destOrd="0" presId="urn:microsoft.com/office/officeart/2005/8/layout/orgChart1"/>
    <dgm:cxn modelId="{E2C9FE46-A4C2-44E2-A97A-6EFCC9F9FCD1}" type="presParOf" srcId="{885AF535-68CB-4A1D-8F77-8830C8494D07}" destId="{C10213FB-33F6-41F3-872C-85F122004AD6}" srcOrd="0" destOrd="0" presId="urn:microsoft.com/office/officeart/2005/8/layout/orgChart1"/>
    <dgm:cxn modelId="{0E8214C2-E05D-4E23-904A-997867E73D55}" type="presParOf" srcId="{C10213FB-33F6-41F3-872C-85F122004AD6}" destId="{06AE8E5B-3DE3-4D00-8CD4-81481CF3CFAC}" srcOrd="0" destOrd="0" presId="urn:microsoft.com/office/officeart/2005/8/layout/orgChart1"/>
    <dgm:cxn modelId="{FEA78693-4B5B-4D59-BAFB-BF510317C1A5}" type="presParOf" srcId="{06AE8E5B-3DE3-4D00-8CD4-81481CF3CFAC}" destId="{442D3079-C513-498E-8DFD-954C4EBF5EF4}" srcOrd="0" destOrd="0" presId="urn:microsoft.com/office/officeart/2005/8/layout/orgChart1"/>
    <dgm:cxn modelId="{3A2E9B9D-3949-4090-8F65-2E84953ACE66}" type="presParOf" srcId="{06AE8E5B-3DE3-4D00-8CD4-81481CF3CFAC}" destId="{3BB4BC1E-3E3E-4081-A7C8-E8E4815A432B}" srcOrd="1" destOrd="0" presId="urn:microsoft.com/office/officeart/2005/8/layout/orgChart1"/>
    <dgm:cxn modelId="{53B46E14-6B79-48AD-BC05-8AA5E9AF09C1}" type="presParOf" srcId="{C10213FB-33F6-41F3-872C-85F122004AD6}" destId="{83C28DC3-15A9-4DD6-9A2A-1F5F36993249}" srcOrd="1" destOrd="0" presId="urn:microsoft.com/office/officeart/2005/8/layout/orgChart1"/>
    <dgm:cxn modelId="{F496A23F-12F1-4120-83DC-3DF79D282281}" type="presParOf" srcId="{83C28DC3-15A9-4DD6-9A2A-1F5F36993249}" destId="{7BEB9BA9-72D1-4EC6-9045-3D49043598C4}" srcOrd="0" destOrd="0" presId="urn:microsoft.com/office/officeart/2005/8/layout/orgChart1"/>
    <dgm:cxn modelId="{5668B437-FAE2-4F75-9D1D-0E8FB851F3BB}" type="presParOf" srcId="{83C28DC3-15A9-4DD6-9A2A-1F5F36993249}" destId="{FF19D2EC-BF18-40BB-B99B-4EDE0E9B6E6C}" srcOrd="1" destOrd="0" presId="urn:microsoft.com/office/officeart/2005/8/layout/orgChart1"/>
    <dgm:cxn modelId="{6E56AF7D-DA66-45C1-BAF4-F2CCED2BC3F9}" type="presParOf" srcId="{FF19D2EC-BF18-40BB-B99B-4EDE0E9B6E6C}" destId="{9BB5E698-88C4-4E91-9D05-F7FBF0C9F54F}" srcOrd="0" destOrd="0" presId="urn:microsoft.com/office/officeart/2005/8/layout/orgChart1"/>
    <dgm:cxn modelId="{C81149DC-7CFC-4FD5-9E7A-16964FC3B914}" type="presParOf" srcId="{9BB5E698-88C4-4E91-9D05-F7FBF0C9F54F}" destId="{84A2C78B-2BE4-4485-A354-B5CDD2EDD746}" srcOrd="0" destOrd="0" presId="urn:microsoft.com/office/officeart/2005/8/layout/orgChart1"/>
    <dgm:cxn modelId="{5CDEC566-0C98-4924-A09D-7ACAB233185E}" type="presParOf" srcId="{9BB5E698-88C4-4E91-9D05-F7FBF0C9F54F}" destId="{D8F3F798-0BC8-40E8-BB1C-47E43ECAA06B}" srcOrd="1" destOrd="0" presId="urn:microsoft.com/office/officeart/2005/8/layout/orgChart1"/>
    <dgm:cxn modelId="{0B626ED9-F4CD-4728-B2D6-BFDECCCFB763}" type="presParOf" srcId="{FF19D2EC-BF18-40BB-B99B-4EDE0E9B6E6C}" destId="{500BCBF8-3C59-4693-B381-4DE1FD1FA6F4}" srcOrd="1" destOrd="0" presId="urn:microsoft.com/office/officeart/2005/8/layout/orgChart1"/>
    <dgm:cxn modelId="{1A5836F0-E122-4D78-B47A-C6A7A32DF0D4}" type="presParOf" srcId="{500BCBF8-3C59-4693-B381-4DE1FD1FA6F4}" destId="{6074283A-A582-45C9-8175-BEA13C37F47C}" srcOrd="0" destOrd="0" presId="urn:microsoft.com/office/officeart/2005/8/layout/orgChart1"/>
    <dgm:cxn modelId="{A7149A81-F006-462B-BE15-1701CB2775D4}" type="presParOf" srcId="{500BCBF8-3C59-4693-B381-4DE1FD1FA6F4}" destId="{565A3E07-8A18-4CDA-AE33-26842EE325CB}" srcOrd="1" destOrd="0" presId="urn:microsoft.com/office/officeart/2005/8/layout/orgChart1"/>
    <dgm:cxn modelId="{43B931BE-46C9-4170-A4BD-CC47FF9072A7}" type="presParOf" srcId="{565A3E07-8A18-4CDA-AE33-26842EE325CB}" destId="{658DDBA3-6819-47D5-B6E0-C4C5FD6A22F9}" srcOrd="0" destOrd="0" presId="urn:microsoft.com/office/officeart/2005/8/layout/orgChart1"/>
    <dgm:cxn modelId="{7D250609-303E-4174-867C-EC86A387369B}" type="presParOf" srcId="{658DDBA3-6819-47D5-B6E0-C4C5FD6A22F9}" destId="{90EF61AA-8AA1-4198-B18F-1D7BD9E49CF6}" srcOrd="0" destOrd="0" presId="urn:microsoft.com/office/officeart/2005/8/layout/orgChart1"/>
    <dgm:cxn modelId="{DAAED083-461D-416A-A323-6AEB6F9148C6}" type="presParOf" srcId="{658DDBA3-6819-47D5-B6E0-C4C5FD6A22F9}" destId="{AAF6CFF0-F35B-4770-9774-E29823A928CA}" srcOrd="1" destOrd="0" presId="urn:microsoft.com/office/officeart/2005/8/layout/orgChart1"/>
    <dgm:cxn modelId="{BFC92B6B-9748-4434-A07D-DEB728257DA9}" type="presParOf" srcId="{565A3E07-8A18-4CDA-AE33-26842EE325CB}" destId="{7FAD0450-CA0D-443B-9B78-2D0E5495A7BD}" srcOrd="1" destOrd="0" presId="urn:microsoft.com/office/officeart/2005/8/layout/orgChart1"/>
    <dgm:cxn modelId="{5147AC5E-9E91-4507-8EC6-515DDA9CC16B}" type="presParOf" srcId="{565A3E07-8A18-4CDA-AE33-26842EE325CB}" destId="{A61DC9A9-37D0-4413-8DE9-78BD2B0DD567}" srcOrd="2" destOrd="0" presId="urn:microsoft.com/office/officeart/2005/8/layout/orgChart1"/>
    <dgm:cxn modelId="{DF37CF06-3A88-4D95-BC5C-141B44757DAB}" type="presParOf" srcId="{FF19D2EC-BF18-40BB-B99B-4EDE0E9B6E6C}" destId="{74F446B7-73A4-4F73-A1A5-E13ED1DB830B}" srcOrd="2" destOrd="0" presId="urn:microsoft.com/office/officeart/2005/8/layout/orgChart1"/>
    <dgm:cxn modelId="{3F148736-3652-480F-B431-342B566D0859}" type="presParOf" srcId="{83C28DC3-15A9-4DD6-9A2A-1F5F36993249}" destId="{CAE849D0-5640-42CD-87BA-3ACA1E878D05}" srcOrd="2" destOrd="0" presId="urn:microsoft.com/office/officeart/2005/8/layout/orgChart1"/>
    <dgm:cxn modelId="{0800C6C7-6660-4119-B299-792423DEACC6}" type="presParOf" srcId="{83C28DC3-15A9-4DD6-9A2A-1F5F36993249}" destId="{7FA11DA0-679A-4212-925C-5048789217FD}" srcOrd="3" destOrd="0" presId="urn:microsoft.com/office/officeart/2005/8/layout/orgChart1"/>
    <dgm:cxn modelId="{5470E594-1040-48DA-A64B-070AA013A1C9}" type="presParOf" srcId="{7FA11DA0-679A-4212-925C-5048789217FD}" destId="{2280BFDA-76EF-40E6-BD0B-BDEC86782BCB}" srcOrd="0" destOrd="0" presId="urn:microsoft.com/office/officeart/2005/8/layout/orgChart1"/>
    <dgm:cxn modelId="{8B58E8F3-E529-43B4-AA2A-5BEECD2C2ED6}" type="presParOf" srcId="{2280BFDA-76EF-40E6-BD0B-BDEC86782BCB}" destId="{D01B920A-E5F0-4CC9-BE8C-731AEA24F1D0}" srcOrd="0" destOrd="0" presId="urn:microsoft.com/office/officeart/2005/8/layout/orgChart1"/>
    <dgm:cxn modelId="{8CC87793-C4B2-445C-9A22-57ED9E5164A4}" type="presParOf" srcId="{2280BFDA-76EF-40E6-BD0B-BDEC86782BCB}" destId="{0C802DEC-CD09-41F5-A7A6-1B0C9797E2F6}" srcOrd="1" destOrd="0" presId="urn:microsoft.com/office/officeart/2005/8/layout/orgChart1"/>
    <dgm:cxn modelId="{E1B740B6-000F-4741-9875-AE34F9F0672D}" type="presParOf" srcId="{7FA11DA0-679A-4212-925C-5048789217FD}" destId="{6B22F5DA-BED9-4E3D-B6A1-F3A96739C3C5}" srcOrd="1" destOrd="0" presId="urn:microsoft.com/office/officeart/2005/8/layout/orgChart1"/>
    <dgm:cxn modelId="{62210395-C377-4F20-8B69-73156BBF6130}" type="presParOf" srcId="{6B22F5DA-BED9-4E3D-B6A1-F3A96739C3C5}" destId="{7BBD3FFB-4E76-492B-91BC-F9476A1CBF30}" srcOrd="0" destOrd="0" presId="urn:microsoft.com/office/officeart/2005/8/layout/orgChart1"/>
    <dgm:cxn modelId="{235EBFAB-BE02-49A9-8DF5-53907E6350A2}" type="presParOf" srcId="{6B22F5DA-BED9-4E3D-B6A1-F3A96739C3C5}" destId="{0155F397-BE07-49FA-97E8-E2C09050270D}" srcOrd="1" destOrd="0" presId="urn:microsoft.com/office/officeart/2005/8/layout/orgChart1"/>
    <dgm:cxn modelId="{8EC48222-6C9B-4EA1-92EB-9A404FAF1491}" type="presParOf" srcId="{0155F397-BE07-49FA-97E8-E2C09050270D}" destId="{C5F76F2B-21EA-4701-B2D5-24CCF3DBD983}" srcOrd="0" destOrd="0" presId="urn:microsoft.com/office/officeart/2005/8/layout/orgChart1"/>
    <dgm:cxn modelId="{45A4C97D-FF59-42B9-B94E-676FE5405086}" type="presParOf" srcId="{C5F76F2B-21EA-4701-B2D5-24CCF3DBD983}" destId="{CC4DB07B-9FA5-4316-BEEB-1D53898E22C1}" srcOrd="0" destOrd="0" presId="urn:microsoft.com/office/officeart/2005/8/layout/orgChart1"/>
    <dgm:cxn modelId="{4F93B44B-E580-4476-A8DC-57986F8F5182}" type="presParOf" srcId="{C5F76F2B-21EA-4701-B2D5-24CCF3DBD983}" destId="{4A28E718-CCA0-4368-9B5B-CECA89E553DD}" srcOrd="1" destOrd="0" presId="urn:microsoft.com/office/officeart/2005/8/layout/orgChart1"/>
    <dgm:cxn modelId="{808D92EB-4C92-4532-B1D3-DF1E3A69E8B7}" type="presParOf" srcId="{0155F397-BE07-49FA-97E8-E2C09050270D}" destId="{3C2092C7-0B80-49AD-BFF7-3952308D41D4}" srcOrd="1" destOrd="0" presId="urn:microsoft.com/office/officeart/2005/8/layout/orgChart1"/>
    <dgm:cxn modelId="{0A3DE1E2-4B9F-4FEB-AC34-41FF88940F9A}" type="presParOf" srcId="{0155F397-BE07-49FA-97E8-E2C09050270D}" destId="{A366290B-200E-4213-9C5B-00AD5B2EC453}" srcOrd="2" destOrd="0" presId="urn:microsoft.com/office/officeart/2005/8/layout/orgChart1"/>
    <dgm:cxn modelId="{C74F3C0F-5667-4D64-91E9-49FB6460C1ED}" type="presParOf" srcId="{6B22F5DA-BED9-4E3D-B6A1-F3A96739C3C5}" destId="{16FC27DE-D46C-40C6-9F19-1D74C286B2CD}" srcOrd="2" destOrd="0" presId="urn:microsoft.com/office/officeart/2005/8/layout/orgChart1"/>
    <dgm:cxn modelId="{B3F5F7FE-FA80-461C-81A2-AF191DD48063}" type="presParOf" srcId="{6B22F5DA-BED9-4E3D-B6A1-F3A96739C3C5}" destId="{70A7DEE3-2C0D-4A3E-B10B-AF1909A8BDB3}" srcOrd="3" destOrd="0" presId="urn:microsoft.com/office/officeart/2005/8/layout/orgChart1"/>
    <dgm:cxn modelId="{E5DB31B2-9F21-4BA4-81A7-FA3171324D46}" type="presParOf" srcId="{70A7DEE3-2C0D-4A3E-B10B-AF1909A8BDB3}" destId="{5C180ECF-4353-47E5-8271-8CEF39836655}" srcOrd="0" destOrd="0" presId="urn:microsoft.com/office/officeart/2005/8/layout/orgChart1"/>
    <dgm:cxn modelId="{A38F68AF-1538-4DAF-A8BB-0F560787E392}" type="presParOf" srcId="{5C180ECF-4353-47E5-8271-8CEF39836655}" destId="{FA72ED6B-ED71-4001-A8D7-C629A6384B24}" srcOrd="0" destOrd="0" presId="urn:microsoft.com/office/officeart/2005/8/layout/orgChart1"/>
    <dgm:cxn modelId="{F8E58EC5-651E-4D84-9EC8-95816FE7A4F2}" type="presParOf" srcId="{5C180ECF-4353-47E5-8271-8CEF39836655}" destId="{3E764552-B98D-441E-8B0E-74215BA80E31}" srcOrd="1" destOrd="0" presId="urn:microsoft.com/office/officeart/2005/8/layout/orgChart1"/>
    <dgm:cxn modelId="{BF982218-2810-48A7-9B36-D7527444A038}" type="presParOf" srcId="{70A7DEE3-2C0D-4A3E-B10B-AF1909A8BDB3}" destId="{91B145AA-AFB9-4333-A773-2BC98C36ECC1}" srcOrd="1" destOrd="0" presId="urn:microsoft.com/office/officeart/2005/8/layout/orgChart1"/>
    <dgm:cxn modelId="{89BC66D7-94B9-4F12-9A5F-403B8E890852}" type="presParOf" srcId="{70A7DEE3-2C0D-4A3E-B10B-AF1909A8BDB3}" destId="{B15273D8-667A-4637-9B38-1874904D16D9}" srcOrd="2" destOrd="0" presId="urn:microsoft.com/office/officeart/2005/8/layout/orgChart1"/>
    <dgm:cxn modelId="{3CB5AB37-FC23-4D63-91BC-5BC0552A3CE4}" type="presParOf" srcId="{7FA11DA0-679A-4212-925C-5048789217FD}" destId="{F3B63E67-3FC2-4B47-AEB4-923B661AF4B3}" srcOrd="2" destOrd="0" presId="urn:microsoft.com/office/officeart/2005/8/layout/orgChart1"/>
    <dgm:cxn modelId="{75418921-BA1A-4686-B6C5-CAD201820B9A}" type="presParOf" srcId="{C10213FB-33F6-41F3-872C-85F122004AD6}" destId="{FCDE419A-8587-465D-A7B7-3B48DAFDDFF0}" srcOrd="2" destOrd="0" presId="urn:microsoft.com/office/officeart/2005/8/layout/orgChart1"/>
    <dgm:cxn modelId="{80F00D0D-58C2-49B2-8446-234A3DE17142}" type="presParOf" srcId="{FCDE419A-8587-465D-A7B7-3B48DAFDDFF0}" destId="{E21EA171-F4BE-4803-9CA0-852D066289B3}" srcOrd="0" destOrd="0" presId="urn:microsoft.com/office/officeart/2005/8/layout/orgChart1"/>
    <dgm:cxn modelId="{AAC66203-A100-42DC-B660-C404781CCA11}" type="presParOf" srcId="{FCDE419A-8587-465D-A7B7-3B48DAFDDFF0}" destId="{CB23F253-0037-481C-AD38-E14077128939}" srcOrd="1" destOrd="0" presId="urn:microsoft.com/office/officeart/2005/8/layout/orgChart1"/>
    <dgm:cxn modelId="{3EE93E2D-8812-43D0-95EF-6A219DB79FEF}" type="presParOf" srcId="{CB23F253-0037-481C-AD38-E14077128939}" destId="{59B92C3E-232C-4C7F-B263-00F371DACB47}" srcOrd="0" destOrd="0" presId="urn:microsoft.com/office/officeart/2005/8/layout/orgChart1"/>
    <dgm:cxn modelId="{7CF3BA23-E6B7-4AC6-A79C-2364EDAF7A22}" type="presParOf" srcId="{59B92C3E-232C-4C7F-B263-00F371DACB47}" destId="{50263CA5-D181-44D0-BDA6-69070ADAD205}" srcOrd="0" destOrd="0" presId="urn:microsoft.com/office/officeart/2005/8/layout/orgChart1"/>
    <dgm:cxn modelId="{EB5AD6D3-C656-4F17-B7DF-69C15E2585F3}" type="presParOf" srcId="{59B92C3E-232C-4C7F-B263-00F371DACB47}" destId="{0D544C37-8636-4090-8250-04A2A0269CBA}" srcOrd="1" destOrd="0" presId="urn:microsoft.com/office/officeart/2005/8/layout/orgChart1"/>
    <dgm:cxn modelId="{B359B9BA-6A86-4CDF-8CCD-8D10FB38860C}" type="presParOf" srcId="{CB23F253-0037-481C-AD38-E14077128939}" destId="{C683380A-0EC5-47D1-97EB-973EE033299A}" srcOrd="1" destOrd="0" presId="urn:microsoft.com/office/officeart/2005/8/layout/orgChart1"/>
    <dgm:cxn modelId="{3C7B88EB-5B95-44A2-A5C8-5E7C631F9298}" type="presParOf" srcId="{CB23F253-0037-481C-AD38-E14077128939}" destId="{42166F1E-B1C3-488C-B743-0A902B0371C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1EA171-F4BE-4803-9CA0-852D066289B3}">
      <dsp:nvSpPr>
        <dsp:cNvPr id="0" name=""/>
        <dsp:cNvSpPr/>
      </dsp:nvSpPr>
      <dsp:spPr>
        <a:xfrm>
          <a:off x="3804982" y="811789"/>
          <a:ext cx="170292" cy="746043"/>
        </a:xfrm>
        <a:custGeom>
          <a:avLst/>
          <a:gdLst/>
          <a:ahLst/>
          <a:cxnLst/>
          <a:rect l="0" t="0" r="0" b="0"/>
          <a:pathLst>
            <a:path>
              <a:moveTo>
                <a:pt x="170292" y="0"/>
              </a:moveTo>
              <a:lnTo>
                <a:pt x="170292" y="746043"/>
              </a:lnTo>
              <a:lnTo>
                <a:pt x="0" y="746043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FC27DE-D46C-40C6-9F19-1D74C286B2CD}">
      <dsp:nvSpPr>
        <dsp:cNvPr id="0" name=""/>
        <dsp:cNvSpPr/>
      </dsp:nvSpPr>
      <dsp:spPr>
        <a:xfrm>
          <a:off x="4307751" y="3114791"/>
          <a:ext cx="243274" cy="18975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97544"/>
              </a:lnTo>
              <a:lnTo>
                <a:pt x="243274" y="1897544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BD3FFB-4E76-492B-91BC-F9476A1CBF30}">
      <dsp:nvSpPr>
        <dsp:cNvPr id="0" name=""/>
        <dsp:cNvSpPr/>
      </dsp:nvSpPr>
      <dsp:spPr>
        <a:xfrm>
          <a:off x="4307751" y="3114791"/>
          <a:ext cx="243274" cy="7460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46043"/>
              </a:lnTo>
              <a:lnTo>
                <a:pt x="243274" y="746043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AE849D0-5640-42CD-87BA-3ACA1E878D05}">
      <dsp:nvSpPr>
        <dsp:cNvPr id="0" name=""/>
        <dsp:cNvSpPr/>
      </dsp:nvSpPr>
      <dsp:spPr>
        <a:xfrm>
          <a:off x="3975275" y="811789"/>
          <a:ext cx="981208" cy="14920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21793"/>
              </a:lnTo>
              <a:lnTo>
                <a:pt x="981208" y="1321793"/>
              </a:lnTo>
              <a:lnTo>
                <a:pt x="981208" y="1492086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74283A-A582-45C9-8175-BEA13C37F47C}">
      <dsp:nvSpPr>
        <dsp:cNvPr id="0" name=""/>
        <dsp:cNvSpPr/>
      </dsp:nvSpPr>
      <dsp:spPr>
        <a:xfrm>
          <a:off x="2345333" y="3114791"/>
          <a:ext cx="243274" cy="55503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55039"/>
              </a:lnTo>
              <a:lnTo>
                <a:pt x="243274" y="555039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EB9BA9-72D1-4EC6-9045-3D49043598C4}">
      <dsp:nvSpPr>
        <dsp:cNvPr id="0" name=""/>
        <dsp:cNvSpPr/>
      </dsp:nvSpPr>
      <dsp:spPr>
        <a:xfrm>
          <a:off x="2994066" y="811789"/>
          <a:ext cx="981208" cy="1492086"/>
        </a:xfrm>
        <a:custGeom>
          <a:avLst/>
          <a:gdLst/>
          <a:ahLst/>
          <a:cxnLst/>
          <a:rect l="0" t="0" r="0" b="0"/>
          <a:pathLst>
            <a:path>
              <a:moveTo>
                <a:pt x="981208" y="0"/>
              </a:moveTo>
              <a:lnTo>
                <a:pt x="981208" y="1321793"/>
              </a:lnTo>
              <a:lnTo>
                <a:pt x="0" y="1321793"/>
              </a:lnTo>
              <a:lnTo>
                <a:pt x="0" y="1492086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42D3079-C513-498E-8DFD-954C4EBF5EF4}">
      <dsp:nvSpPr>
        <dsp:cNvPr id="0" name=""/>
        <dsp:cNvSpPr/>
      </dsp:nvSpPr>
      <dsp:spPr>
        <a:xfrm>
          <a:off x="3164358" y="872"/>
          <a:ext cx="1621832" cy="810916"/>
        </a:xfrm>
        <a:prstGeom prst="rect">
          <a:avLst/>
        </a:prstGeom>
        <a:solidFill>
          <a:schemeClr val="accent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Request</a:t>
          </a:r>
        </a:p>
      </dsp:txBody>
      <dsp:txXfrm>
        <a:off x="3164358" y="872"/>
        <a:ext cx="1621832" cy="810916"/>
      </dsp:txXfrm>
    </dsp:sp>
    <dsp:sp modelId="{84A2C78B-2BE4-4485-A354-B5CDD2EDD746}">
      <dsp:nvSpPr>
        <dsp:cNvPr id="0" name=""/>
        <dsp:cNvSpPr/>
      </dsp:nvSpPr>
      <dsp:spPr>
        <a:xfrm>
          <a:off x="2183150" y="2303875"/>
          <a:ext cx="1621832" cy="810916"/>
        </a:xfrm>
        <a:prstGeom prst="rect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Similar subject already done by the FTE</a:t>
          </a:r>
        </a:p>
      </dsp:txBody>
      <dsp:txXfrm>
        <a:off x="2183150" y="2303875"/>
        <a:ext cx="1621832" cy="810916"/>
      </dsp:txXfrm>
    </dsp:sp>
    <dsp:sp modelId="{90EF61AA-8AA1-4198-B18F-1D7BD9E49CF6}">
      <dsp:nvSpPr>
        <dsp:cNvPr id="0" name=""/>
        <dsp:cNvSpPr/>
      </dsp:nvSpPr>
      <dsp:spPr>
        <a:xfrm>
          <a:off x="2588608" y="3455376"/>
          <a:ext cx="1002892" cy="428909"/>
        </a:xfrm>
        <a:prstGeom prst="rect">
          <a:avLst/>
        </a:prstGeom>
        <a:solidFill>
          <a:schemeClr val="accent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Treated by the FTE</a:t>
          </a:r>
        </a:p>
      </dsp:txBody>
      <dsp:txXfrm>
        <a:off x="2588608" y="3455376"/>
        <a:ext cx="1002892" cy="428909"/>
      </dsp:txXfrm>
    </dsp:sp>
    <dsp:sp modelId="{D01B920A-E5F0-4CC9-BE8C-731AEA24F1D0}">
      <dsp:nvSpPr>
        <dsp:cNvPr id="0" name=""/>
        <dsp:cNvSpPr/>
      </dsp:nvSpPr>
      <dsp:spPr>
        <a:xfrm>
          <a:off x="4145567" y="2303875"/>
          <a:ext cx="1621832" cy="810916"/>
        </a:xfrm>
        <a:prstGeom prst="rect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No similar subject already done by the FTE</a:t>
          </a:r>
        </a:p>
      </dsp:txBody>
      <dsp:txXfrm>
        <a:off x="4145567" y="2303875"/>
        <a:ext cx="1621832" cy="810916"/>
      </dsp:txXfrm>
    </dsp:sp>
    <dsp:sp modelId="{CC4DB07B-9FA5-4316-BEEB-1D53898E22C1}">
      <dsp:nvSpPr>
        <dsp:cNvPr id="0" name=""/>
        <dsp:cNvSpPr/>
      </dsp:nvSpPr>
      <dsp:spPr>
        <a:xfrm>
          <a:off x="4551026" y="3455376"/>
          <a:ext cx="1621832" cy="810916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Similar Subject already done by MCK Team</a:t>
          </a:r>
        </a:p>
      </dsp:txBody>
      <dsp:txXfrm>
        <a:off x="4551026" y="3455376"/>
        <a:ext cx="1621832" cy="810916"/>
      </dsp:txXfrm>
    </dsp:sp>
    <dsp:sp modelId="{FA72ED6B-ED71-4001-A8D7-C629A6384B24}">
      <dsp:nvSpPr>
        <dsp:cNvPr id="0" name=""/>
        <dsp:cNvSpPr/>
      </dsp:nvSpPr>
      <dsp:spPr>
        <a:xfrm>
          <a:off x="4551026" y="4606877"/>
          <a:ext cx="1621832" cy="810916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No Similar subject already done by MCK Team</a:t>
          </a:r>
        </a:p>
      </dsp:txBody>
      <dsp:txXfrm>
        <a:off x="4551026" y="4606877"/>
        <a:ext cx="1621832" cy="810916"/>
      </dsp:txXfrm>
    </dsp:sp>
    <dsp:sp modelId="{50263CA5-D181-44D0-BDA6-69070ADAD205}">
      <dsp:nvSpPr>
        <dsp:cNvPr id="0" name=""/>
        <dsp:cNvSpPr/>
      </dsp:nvSpPr>
      <dsp:spPr>
        <a:xfrm>
          <a:off x="2183150" y="1152374"/>
          <a:ext cx="1621832" cy="810916"/>
        </a:xfrm>
        <a:prstGeom prst="rect">
          <a:avLst/>
        </a:prstGeom>
        <a:solidFill>
          <a:schemeClr val="tx2"/>
        </a:solidFill>
        <a:ln w="12700" cap="flat" cmpd="sng" algn="ctr">
          <a:solidFill>
            <a:schemeClr val="l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Can’t be </a:t>
          </a:r>
          <a:r>
            <a:rPr lang="en-US" sz="1400" kern="1200" noProof="0" dirty="0"/>
            <a:t>treated</a:t>
          </a:r>
        </a:p>
      </dsp:txBody>
      <dsp:txXfrm>
        <a:off x="2183150" y="1152374"/>
        <a:ext cx="1621832" cy="8109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44E65DC7-E272-4819-92E4-467001B2E5EF}" type="datetimeFigureOut">
              <a:rPr lang="en-US" smtClean="0"/>
              <a:pPr/>
              <a:t>6/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4FFE1497-D716-42F4-8909-8BB61BABB8A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1959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FE1497-D716-42F4-8909-8BB61BABB8A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07847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FE1497-D716-42F4-8909-8BB61BABB8A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64487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BA6C30B-C37F-43B4-E9A5-8549FE9D61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4944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B039F71-1C6B-D075-6315-F335EC80A4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71C23EF-11DE-FAAB-8D21-EFCBCD20A6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9414CD-6F77-610E-BFE6-57FFB802B6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E1B2F8F-9DD6-4FBB-96EA-A7F13C655313}" type="datetimeFigureOut">
              <a:rPr lang="en-US" smtClean="0"/>
              <a:pPr/>
              <a:t>6/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CDBAA3-3D20-B80B-CDD0-48039CAC80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B33261-0ACD-A6AE-B720-1190603E9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EC10FB8-18F0-4614-821F-6C67D7C18CA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8394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E1D883C-CF3D-DB6E-8AE4-C8354AFF52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4920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C166B87-C067-3099-71E6-5BBD52E7DC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897B15E-FBDC-3DFA-FDC0-6E492933AE5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AAD551-8756-8167-C584-06D3566098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E1B2F8F-9DD6-4FBB-96EA-A7F13C655313}" type="datetimeFigureOut">
              <a:rPr lang="en-US" smtClean="0"/>
              <a:pPr/>
              <a:t>6/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468B39-E82E-717E-1AF8-6487E52299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5DB2D7-ABBD-4EC0-2405-F6C26FEB42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EC10FB8-18F0-4614-821F-6C67D7C18CA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41401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93C30C8-1368-E7B4-F53D-8235A8842A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399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156BD4C9-851B-8CDF-AFE4-AA8F7B5D8EB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8D95E38-224D-FAA7-2B5E-A76E137980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113097-43A0-6A00-8C79-264EEDA3A1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E1B2F8F-9DD6-4FBB-96EA-A7F13C655313}" type="datetimeFigureOut">
              <a:rPr lang="en-US" smtClean="0"/>
              <a:pPr/>
              <a:t>6/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A1E855-92C5-F8DE-68A1-C0E2B90D55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84959E-A220-88D1-0C49-D48DB36D5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EC10FB8-18F0-4614-821F-6C67D7C18CA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27954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B3B8398-7A3C-FE8B-2B81-31D1F20B6E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9660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A13293F-43AA-4545-9E96-BA41417875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758AB5-A97B-C84E-7230-A5A53EF325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BA8F55-F162-1760-A898-94073B8887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E1B2F8F-9DD6-4FBB-96EA-A7F13C655313}" type="datetimeFigureOut">
              <a:rPr lang="en-US" smtClean="0"/>
              <a:pPr/>
              <a:t>6/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3A0C96-6C2D-981E-2081-D302CD2145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599600-5B1E-9FE9-6392-631F3EDA4E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EC10FB8-18F0-4614-821F-6C67D7C18CA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065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1D0BD63-C17B-A6BF-CB9A-4FDA6CB26E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8047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07D320E-448C-FB37-72F8-6B6C3D6B6F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D25F55-F116-8E51-AA44-B002A5AEE2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D8811C-0CFF-1080-3F80-1A4629D7BF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E1B2F8F-9DD6-4FBB-96EA-A7F13C655313}" type="datetimeFigureOut">
              <a:rPr lang="en-US" smtClean="0"/>
              <a:pPr/>
              <a:t>6/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B203EA-864D-C333-BA43-7D3615FECB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2A38AB-B765-B8A9-D1CA-6C797F4E0D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EC10FB8-18F0-4614-821F-6C67D7C18CA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98924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7AAD9C0-881A-3A85-9037-53F31B1947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8445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EF5C446-F081-EEEE-D8C7-8D09600B5D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466A8C-155E-73CF-9A11-BAB8D81A1D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AEB3F5-705A-F67C-716A-4D81B8C813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A9CA98-1BD1-9D0B-0DC4-4839E2DD13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E1B2F8F-9DD6-4FBB-96EA-A7F13C655313}" type="datetimeFigureOut">
              <a:rPr lang="en-US" smtClean="0"/>
              <a:pPr/>
              <a:t>6/7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87AB79-28ED-369B-5FDE-83131FF32D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A90580-9DBC-25D8-3FB2-323644D3E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EC10FB8-18F0-4614-821F-6C67D7C18CA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74008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A4382AE-9E61-BD5C-073E-34DF47EE85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6459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4AFDE78-A579-3D2C-9678-6BA1630A53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FF2C97-167D-E364-62EA-EAC1CEBC13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2976F9-C3FD-DCB2-2D05-5482C1F3692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5775D7-AFFB-70CA-7A28-835F9818B3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1FB0780-8BE2-119F-254B-ADC2E2672B0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D12935D-B153-0356-F4AD-5B2C08D53E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E1B2F8F-9DD6-4FBB-96EA-A7F13C655313}" type="datetimeFigureOut">
              <a:rPr lang="en-US" smtClean="0"/>
              <a:pPr/>
              <a:t>6/7/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3FBC3F1-0B73-9243-58FC-AEC9335F55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CBF14C6-92C1-8DF2-9554-35DDB2621B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EC10FB8-18F0-4614-821F-6C67D7C18CA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0074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864A1DC-7862-3BB5-854A-D47B692D3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4923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C40DB8-774A-B0E5-83A9-ED1CF1CDD8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EB5E2E-3A45-895F-69B6-EB5CDBCF66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E1B2F8F-9DD6-4FBB-96EA-A7F13C655313}" type="datetimeFigureOut">
              <a:rPr lang="en-US" smtClean="0"/>
              <a:pPr/>
              <a:t>6/7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7324A2-8130-EFC4-6121-B98C3F5294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5AD157-EDC4-DD58-A6FF-5A2F987E96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EC10FB8-18F0-4614-821F-6C67D7C18CA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8800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6EDF37B-FDB9-413C-4872-F349BE8CEE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9725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1AB841C-AC65-4171-BD91-E36C3C92BF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E1B2F8F-9DD6-4FBB-96EA-A7F13C655313}" type="datetimeFigureOut">
              <a:rPr lang="en-US" smtClean="0"/>
              <a:pPr/>
              <a:t>6/7/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0A16E00-C521-80DE-1B27-8C90F880EE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3BA9DE-8DD8-215B-826F-CE5C81339A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EC10FB8-18F0-4614-821F-6C67D7C18CA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58380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F7395D-2CAB-878C-06F2-C22958386F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1896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0F0A521-D5A1-4E21-728E-764E9BC7F0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C5AB53-FBB4-0245-16D3-A5F07C5D1A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DBDD00-D9AA-AE57-DAA0-B274E6CA24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421F64-E9EB-926D-5A00-64DC7499E8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E1B2F8F-9DD6-4FBB-96EA-A7F13C655313}" type="datetimeFigureOut">
              <a:rPr lang="en-US" smtClean="0"/>
              <a:pPr/>
              <a:t>6/7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A2BA285-951D-3BFE-2D64-CC5BEF443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AD6E23-23AA-5A58-C245-25F3BC9C56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EC10FB8-18F0-4614-821F-6C67D7C18CA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707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AD61C8E-7650-7C20-F72A-9213E0C759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6498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B178BCB-08EB-361E-F1BA-7EDD02B7DF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D02FD8A-88B2-6A75-6CC7-F4073660A69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6E0260-8E77-63F1-9213-4CC4BDF8BD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F8FF50C-596A-2E24-DEC9-C255473B8D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E1B2F8F-9DD6-4FBB-96EA-A7F13C655313}" type="datetimeFigureOut">
              <a:rPr lang="en-US" smtClean="0"/>
              <a:pPr/>
              <a:t>6/7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3E2317-202A-815E-F14D-F0012EBB5F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074BE6-97A7-6947-4254-F786DDB0C5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EC10FB8-18F0-4614-821F-6C67D7C18CA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78179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674EB75-247D-4026-A79C-D36CB59FFD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46360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CAE56E-A9E5-B85D-C205-FCF0249001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013271-D949-249B-7912-95AE0F4021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A13338-1A2D-797D-059F-5AEDC8B901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1B2F8F-9DD6-4FBB-96EA-A7F13C655313}" type="datetimeFigureOut">
              <a:rPr lang="en-US" smtClean="0"/>
              <a:pPr/>
              <a:t>6/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4057DD-4029-EC33-AAD4-847D51D2CB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E746EF-C1D1-243A-7480-DD9E3A28C9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C10FB8-18F0-4614-821F-6C67D7C18CA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0680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1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13.bin"/><Relationship Id="rId9" Type="http://schemas.openxmlformats.org/officeDocument/2006/relationships/diagramColors" Target="../diagrams/colors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CDE702-848F-624D-25BA-9D07B3FA9F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0380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3CBDEDCD-1571-CA50-909E-865B27F7D8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99273086"/>
              </p:ext>
            </p:extLst>
          </p:nvPr>
        </p:nvGraphicFramePr>
        <p:xfrm>
          <a:off x="1192030" y="964220"/>
          <a:ext cx="8356009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E4267DD1-782B-1FC4-439E-B000EB4ECF87}"/>
              </a:ext>
            </a:extLst>
          </p:cNvPr>
          <p:cNvSpPr txBox="1"/>
          <p:nvPr/>
        </p:nvSpPr>
        <p:spPr>
          <a:xfrm>
            <a:off x="861237" y="2169047"/>
            <a:ext cx="2307265" cy="707886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sz="1000" dirty="0"/>
              <a:t>The subject might be in DA Scope :</a:t>
            </a:r>
          </a:p>
          <a:p>
            <a:r>
              <a:rPr lang="en-US" sz="1000" dirty="0"/>
              <a:t>Web scrapping multiple websites, </a:t>
            </a:r>
          </a:p>
          <a:p>
            <a:r>
              <a:rPr lang="en-US" sz="1000" dirty="0"/>
              <a:t>Geospatial data, </a:t>
            </a:r>
          </a:p>
          <a:p>
            <a:r>
              <a:rPr lang="en-US" sz="1000" dirty="0"/>
              <a:t>Forecasting …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367EFF6-84F7-0D96-15C8-59315DB604BC}"/>
              </a:ext>
            </a:extLst>
          </p:cNvPr>
          <p:cNvSpPr txBox="1"/>
          <p:nvPr/>
        </p:nvSpPr>
        <p:spPr>
          <a:xfrm rot="16200000">
            <a:off x="4215231" y="5228083"/>
            <a:ext cx="2063386" cy="2462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000" dirty="0"/>
              <a:t>Message is sent to a specific Chanel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DB406B7-D1F7-AAD7-4609-84754BA0D876}"/>
              </a:ext>
            </a:extLst>
          </p:cNvPr>
          <p:cNvSpPr txBox="1"/>
          <p:nvPr/>
        </p:nvSpPr>
        <p:spPr>
          <a:xfrm>
            <a:off x="7419754" y="4646434"/>
            <a:ext cx="882503" cy="510362"/>
          </a:xfrm>
          <a:prstGeom prst="rect">
            <a:avLst/>
          </a:prstGeom>
          <a:solidFill>
            <a:schemeClr val="accent6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spcFirstLastPara="0" vert="horz" wrap="square" lIns="8890" tIns="8890" rIns="8890" bIns="8890" numCol="1" spcCol="1270" anchor="ctr" anchorCtr="0"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Hint + Treated by FT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C5B73C9-050B-7A06-2409-69E1D4DFE3EF}"/>
              </a:ext>
            </a:extLst>
          </p:cNvPr>
          <p:cNvSpPr txBox="1"/>
          <p:nvPr/>
        </p:nvSpPr>
        <p:spPr>
          <a:xfrm>
            <a:off x="7419754" y="5702601"/>
            <a:ext cx="882503" cy="510362"/>
          </a:xfrm>
          <a:prstGeom prst="rect">
            <a:avLst/>
          </a:prstGeom>
          <a:solidFill>
            <a:schemeClr val="accent6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spcFirstLastPara="0" vert="horz" wrap="square" lIns="8890" tIns="8890" rIns="8890" bIns="8890" numCol="1" spcCol="1270" anchor="ctr" anchorCtr="0"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Treated by F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547D647-3919-DC69-6005-D912EBD729E3}"/>
              </a:ext>
            </a:extLst>
          </p:cNvPr>
          <p:cNvSpPr txBox="1"/>
          <p:nvPr/>
        </p:nvSpPr>
        <p:spPr>
          <a:xfrm>
            <a:off x="7125350" y="3765502"/>
            <a:ext cx="3273293" cy="553998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sz="1000" dirty="0"/>
              <a:t>Use the mailbox to assess all the requests and create a table with multiple entries : Subject, FTE, Country, Nb of hours between 1</a:t>
            </a:r>
            <a:r>
              <a:rPr lang="en-US" sz="1000" baseline="30000" dirty="0"/>
              <a:t>st</a:t>
            </a:r>
            <a:r>
              <a:rPr lang="en-US" sz="1000" dirty="0"/>
              <a:t> and Last email </a:t>
            </a:r>
            <a:r>
              <a:rPr lang="en-US" sz="1000" dirty="0" err="1"/>
              <a:t>etc</a:t>
            </a:r>
            <a:r>
              <a:rPr lang="en-US" sz="1000" dirty="0"/>
              <a:t>… </a:t>
            </a:r>
            <a:r>
              <a:rPr lang="en-US" sz="1000" dirty="0">
                <a:sym typeface="Wingdings" panose="05000000000000000000" pitchFamily="2" charset="2"/>
              </a:rPr>
              <a:t> Knowledge Mgt</a:t>
            </a:r>
            <a:endParaRPr lang="en-US" sz="1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4CFFE65-90F8-7B2E-11CE-F0739E28A242}"/>
              </a:ext>
            </a:extLst>
          </p:cNvPr>
          <p:cNvSpPr txBox="1"/>
          <p:nvPr/>
        </p:nvSpPr>
        <p:spPr>
          <a:xfrm>
            <a:off x="484548" y="361512"/>
            <a:ext cx="524624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i="1" u="sng" dirty="0">
                <a:solidFill>
                  <a:schemeClr val="accent1"/>
                </a:solidFill>
              </a:rPr>
              <a:t>Business Research Requests Treatment </a:t>
            </a:r>
          </a:p>
        </p:txBody>
      </p:sp>
    </p:spTree>
    <p:extLst>
      <p:ext uri="{BB962C8B-B14F-4D97-AF65-F5344CB8AC3E}">
        <p14:creationId xmlns:p14="http://schemas.microsoft.com/office/powerpoint/2010/main" val="15706264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CE5CAE6-639C-69FF-2484-3C87E9B609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9526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3749263-E96E-5170-7FC2-BA4737B0BECC}"/>
              </a:ext>
            </a:extLst>
          </p:cNvPr>
          <p:cNvSpPr txBox="1"/>
          <p:nvPr/>
        </p:nvSpPr>
        <p:spPr>
          <a:xfrm>
            <a:off x="388855" y="1351906"/>
            <a:ext cx="11414289" cy="507831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Creating Infomineo Databases </a:t>
            </a:r>
            <a:endParaRPr lang="en-US" dirty="0">
              <a:solidFill>
                <a:schemeClr val="accent1"/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Creating a knowledge database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Creating databases automatically updated for frequent request (Using the mailbox assessing the requests that comes often – countries, industries + Experts views) </a:t>
            </a:r>
            <a:r>
              <a:rPr lang="en-US" dirty="0">
                <a:sym typeface="Wingdings" panose="05000000000000000000" pitchFamily="2" charset="2"/>
              </a:rPr>
              <a:t> P2 – Off the shelf materials </a:t>
            </a:r>
            <a:endParaRPr lang="en-US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>
                <a:solidFill>
                  <a:schemeClr val="accent1"/>
                </a:solidFill>
              </a:rPr>
              <a:t>Introducing Innovative Tools for Enhanced Business Research </a:t>
            </a:r>
            <a:r>
              <a:rPr lang="en-US" b="1" dirty="0">
                <a:solidFill>
                  <a:schemeClr val="accent1"/>
                </a:solidFill>
                <a:sym typeface="Wingdings" panose="05000000000000000000" pitchFamily="2" charset="2"/>
              </a:rPr>
              <a:t> Need more advanced tools </a:t>
            </a:r>
            <a:endParaRPr lang="en-US" b="1" dirty="0">
              <a:solidFill>
                <a:schemeClr val="accent1"/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Specialized Web scrapping tools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Search within many pdf documents (using </a:t>
            </a:r>
            <a:r>
              <a:rPr lang="en-US" dirty="0" err="1"/>
              <a:t>ChatGPT</a:t>
            </a:r>
            <a:r>
              <a:rPr lang="en-US" dirty="0"/>
              <a:t> API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>
                <a:solidFill>
                  <a:schemeClr val="accent1"/>
                </a:solidFill>
              </a:rPr>
              <a:t>Cross Selling Proposition 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roposing DA Services on top of BR in the weekly email sent by BR Team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“New Data Analytics Team : Our new team can provide you with more insights into your clients' industries, markets, and customer behavior by conducting statistical analysis, geospatial analysis …” 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  <a:sym typeface="Wingdings" panose="05000000000000000000" pitchFamily="2" charset="2"/>
              </a:rPr>
              <a:t> Billing to discuss Hamza  </a:t>
            </a: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74151"/>
                </a:solidFill>
                <a:latin typeface="Söhne"/>
              </a:rPr>
              <a:t>Using catalog of request to determine which request can be handled by DA + BR Team to increase efficiency</a:t>
            </a: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What can we do ? As technically </a:t>
            </a:r>
          </a:p>
          <a:p>
            <a:r>
              <a:rPr lang="en-US" dirty="0"/>
              <a:t>Structure the collaboration : 1 FTE (ex : </a:t>
            </a:r>
            <a:r>
              <a:rPr lang="en-US" dirty="0" err="1"/>
              <a:t>Oludayo</a:t>
            </a:r>
            <a:r>
              <a:rPr lang="en-US"/>
              <a:t>) </a:t>
            </a:r>
            <a:r>
              <a:rPr lang="en-US">
                <a:sym typeface="Wingdings" panose="05000000000000000000" pitchFamily="2" charset="2"/>
              </a:rPr>
              <a:t> P1 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1954D1D-CFBA-7AC9-C3E4-87D6BAB6135C}"/>
              </a:ext>
            </a:extLst>
          </p:cNvPr>
          <p:cNvSpPr txBox="1"/>
          <p:nvPr/>
        </p:nvSpPr>
        <p:spPr>
          <a:xfrm>
            <a:off x="388855" y="446567"/>
            <a:ext cx="59829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i="1" u="sng" dirty="0">
                <a:solidFill>
                  <a:schemeClr val="accent1"/>
                </a:solidFill>
              </a:rPr>
              <a:t>Data Analytics &amp; Business Research Synergies</a:t>
            </a:r>
          </a:p>
        </p:txBody>
      </p:sp>
    </p:spTree>
    <p:extLst>
      <p:ext uri="{BB962C8B-B14F-4D97-AF65-F5344CB8AC3E}">
        <p14:creationId xmlns:p14="http://schemas.microsoft.com/office/powerpoint/2010/main" val="32226267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af609d-d070-4076-a2d2-d679d8975de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EB99F070A47694BA29DA677127D2114" ma:contentTypeVersion="13" ma:contentTypeDescription="Create a new document." ma:contentTypeScope="" ma:versionID="d659af657f7e2ea6b689cf21dd734794">
  <xsd:schema xmlns:xsd="http://www.w3.org/2001/XMLSchema" xmlns:xs="http://www.w3.org/2001/XMLSchema" xmlns:p="http://schemas.microsoft.com/office/2006/metadata/properties" xmlns:ns3="d6af609d-d070-4076-a2d2-d679d8975de3" xmlns:ns4="8f56eb53-d1b7-489e-ab13-08801bbc243a" targetNamespace="http://schemas.microsoft.com/office/2006/metadata/properties" ma:root="true" ma:fieldsID="3992c173ab369a76c453d616e78c3803" ns3:_="" ns4:_="">
    <xsd:import namespace="d6af609d-d070-4076-a2d2-d679d8975de3"/>
    <xsd:import namespace="8f56eb53-d1b7-489e-ab13-08801bbc243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Locatio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af609d-d070-4076-a2d2-d679d8975de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4" nillable="true" ma:displayName="_activity" ma:hidden="true" ma:internalName="_activity">
      <xsd:simpleType>
        <xsd:restriction base="dms:Note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56eb53-d1b7-489e-ab13-08801bbc243a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818D186-D30C-4A1A-8A8E-AF11E0C87276}">
  <ds:schemaRefs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www.w3.org/XML/1998/namespace"/>
    <ds:schemaRef ds:uri="http://purl.org/dc/terms/"/>
    <ds:schemaRef ds:uri="8f56eb53-d1b7-489e-ab13-08801bbc243a"/>
    <ds:schemaRef ds:uri="http://schemas.microsoft.com/office/2006/documentManagement/types"/>
    <ds:schemaRef ds:uri="http://schemas.microsoft.com/office/infopath/2007/PartnerControls"/>
    <ds:schemaRef ds:uri="d6af609d-d070-4076-a2d2-d679d8975de3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1A90B3B-39F3-4869-8BC0-94303CCAB49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4346EE9-82D7-4C7C-A706-B4565382FC8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af609d-d070-4076-a2d2-d679d8975de3"/>
    <ds:schemaRef ds:uri="8f56eb53-d1b7-489e-ab13-08801bbc243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6</TotalTime>
  <Words>279</Words>
  <Application>Microsoft Office PowerPoint</Application>
  <PresentationFormat>Widescreen</PresentationFormat>
  <Paragraphs>34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Söhne</vt:lpstr>
      <vt:lpstr>Office Them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sa 3</dc:creator>
  <cp:lastModifiedBy>Casa 3</cp:lastModifiedBy>
  <cp:revision>2</cp:revision>
  <dcterms:created xsi:type="dcterms:W3CDTF">2023-06-07T10:07:04Z</dcterms:created>
  <dcterms:modified xsi:type="dcterms:W3CDTF">2023-06-07T12:17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EB99F070A47694BA29DA677127D2114</vt:lpwstr>
  </property>
</Properties>
</file>